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1" r:id="rId2"/>
    <p:sldId id="262" r:id="rId3"/>
    <p:sldId id="263" r:id="rId4"/>
    <p:sldId id="264" r:id="rId5"/>
    <p:sldId id="256" r:id="rId6"/>
    <p:sldId id="260" r:id="rId7"/>
    <p:sldId id="257" r:id="rId8"/>
    <p:sldId id="258" r:id="rId9"/>
    <p:sldId id="259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703217-D8D4-41B1-9D30-CD0DD198691E}" v="125" dt="2024-11-29T17:52:34.8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1836" y="6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J Grant" userId="21cab94c-7745-4db5-aa88-56cdc0183ba7" providerId="ADAL" clId="{FD703217-D8D4-41B1-9D30-CD0DD198691E}"/>
    <pc:docChg chg="custSel addSld modSld sldOrd modMainMaster">
      <pc:chgData name="PJ Grant" userId="21cab94c-7745-4db5-aa88-56cdc0183ba7" providerId="ADAL" clId="{FD703217-D8D4-41B1-9D30-CD0DD198691E}" dt="2024-11-29T17:53:46.336" v="1102" actId="20577"/>
      <pc:docMkLst>
        <pc:docMk/>
      </pc:docMkLst>
      <pc:sldChg chg="addSp modSp new mod">
        <pc:chgData name="PJ Grant" userId="21cab94c-7745-4db5-aa88-56cdc0183ba7" providerId="ADAL" clId="{FD703217-D8D4-41B1-9D30-CD0DD198691E}" dt="2024-11-29T17:38:20.606" v="18"/>
        <pc:sldMkLst>
          <pc:docMk/>
          <pc:sldMk cId="3245668722" sldId="256"/>
        </pc:sldMkLst>
        <pc:spChg chg="mod">
          <ac:chgData name="PJ Grant" userId="21cab94c-7745-4db5-aa88-56cdc0183ba7" providerId="ADAL" clId="{FD703217-D8D4-41B1-9D30-CD0DD198691E}" dt="2024-11-29T17:38:19.928" v="4"/>
          <ac:spMkLst>
            <pc:docMk/>
            <pc:sldMk cId="3245668722" sldId="256"/>
            <ac:spMk id="2" creationId="{211C34D3-999D-9097-E589-0E21457EE62A}"/>
          </ac:spMkLst>
        </pc:spChg>
        <pc:spChg chg="mod">
          <ac:chgData name="PJ Grant" userId="21cab94c-7745-4db5-aa88-56cdc0183ba7" providerId="ADAL" clId="{FD703217-D8D4-41B1-9D30-CD0DD198691E}" dt="2024-11-29T17:38:19.928" v="4"/>
          <ac:spMkLst>
            <pc:docMk/>
            <pc:sldMk cId="3245668722" sldId="256"/>
            <ac:spMk id="3" creationId="{DE30EB22-4A8B-6FBB-CA4F-B5A690F81382}"/>
          </ac:spMkLst>
        </pc:spChg>
        <pc:graphicFrameChg chg="add mod ord modVis">
          <ac:chgData name="PJ Grant" userId="21cab94c-7745-4db5-aa88-56cdc0183ba7" providerId="ADAL" clId="{FD703217-D8D4-41B1-9D30-CD0DD198691E}" dt="2024-11-29T17:38:20.606" v="18"/>
          <ac:graphicFrameMkLst>
            <pc:docMk/>
            <pc:sldMk cId="3245668722" sldId="256"/>
            <ac:graphicFrameMk id="4" creationId="{67C9E55D-40BF-624D-3D39-159164D434BF}"/>
          </ac:graphicFrameMkLst>
        </pc:graphicFrameChg>
      </pc:sldChg>
      <pc:sldChg chg="addSp modSp new mod">
        <pc:chgData name="PJ Grant" userId="21cab94c-7745-4db5-aa88-56cdc0183ba7" providerId="ADAL" clId="{FD703217-D8D4-41B1-9D30-CD0DD198691E}" dt="2024-11-29T17:38:20.809" v="60"/>
        <pc:sldMkLst>
          <pc:docMk/>
          <pc:sldMk cId="3402126679" sldId="257"/>
        </pc:sldMkLst>
        <pc:spChg chg="mod">
          <ac:chgData name="PJ Grant" userId="21cab94c-7745-4db5-aa88-56cdc0183ba7" providerId="ADAL" clId="{FD703217-D8D4-41B1-9D30-CD0DD198691E}" dt="2024-11-29T17:38:19.928" v="4"/>
          <ac:spMkLst>
            <pc:docMk/>
            <pc:sldMk cId="3402126679" sldId="257"/>
            <ac:spMk id="2" creationId="{3B58A79F-5195-52E6-8B44-D58219B89EA9}"/>
          </ac:spMkLst>
        </pc:spChg>
        <pc:spChg chg="mod">
          <ac:chgData name="PJ Grant" userId="21cab94c-7745-4db5-aa88-56cdc0183ba7" providerId="ADAL" clId="{FD703217-D8D4-41B1-9D30-CD0DD198691E}" dt="2024-11-29T17:38:19.928" v="4"/>
          <ac:spMkLst>
            <pc:docMk/>
            <pc:sldMk cId="3402126679" sldId="257"/>
            <ac:spMk id="3" creationId="{EDFEC14D-B70D-7EA4-FB5F-148147472626}"/>
          </ac:spMkLst>
        </pc:spChg>
        <pc:graphicFrameChg chg="add mod ord modVis">
          <ac:chgData name="PJ Grant" userId="21cab94c-7745-4db5-aa88-56cdc0183ba7" providerId="ADAL" clId="{FD703217-D8D4-41B1-9D30-CD0DD198691E}" dt="2024-11-29T17:38:20.809" v="60"/>
          <ac:graphicFrameMkLst>
            <pc:docMk/>
            <pc:sldMk cId="3402126679" sldId="257"/>
            <ac:graphicFrameMk id="4" creationId="{61DD4A1B-E5F0-69B0-C286-0BF32F5D34E8}"/>
          </ac:graphicFrameMkLst>
        </pc:graphicFrameChg>
      </pc:sldChg>
      <pc:sldChg chg="addSp modSp new mod">
        <pc:chgData name="PJ Grant" userId="21cab94c-7745-4db5-aa88-56cdc0183ba7" providerId="ADAL" clId="{FD703217-D8D4-41B1-9D30-CD0DD198691E}" dt="2024-11-29T17:38:20.676" v="32"/>
        <pc:sldMkLst>
          <pc:docMk/>
          <pc:sldMk cId="1915497536" sldId="258"/>
        </pc:sldMkLst>
        <pc:spChg chg="mod">
          <ac:chgData name="PJ Grant" userId="21cab94c-7745-4db5-aa88-56cdc0183ba7" providerId="ADAL" clId="{FD703217-D8D4-41B1-9D30-CD0DD198691E}" dt="2024-11-29T17:38:19.928" v="4"/>
          <ac:spMkLst>
            <pc:docMk/>
            <pc:sldMk cId="1915497536" sldId="258"/>
            <ac:spMk id="2" creationId="{364C2CC5-12CF-A455-C1C9-EC1C9047967E}"/>
          </ac:spMkLst>
        </pc:spChg>
        <pc:spChg chg="mod">
          <ac:chgData name="PJ Grant" userId="21cab94c-7745-4db5-aa88-56cdc0183ba7" providerId="ADAL" clId="{FD703217-D8D4-41B1-9D30-CD0DD198691E}" dt="2024-11-29T17:38:19.928" v="4"/>
          <ac:spMkLst>
            <pc:docMk/>
            <pc:sldMk cId="1915497536" sldId="258"/>
            <ac:spMk id="3" creationId="{D02BE164-40AE-A6C3-203E-E39A585E230A}"/>
          </ac:spMkLst>
        </pc:spChg>
        <pc:graphicFrameChg chg="add mod ord modVis">
          <ac:chgData name="PJ Grant" userId="21cab94c-7745-4db5-aa88-56cdc0183ba7" providerId="ADAL" clId="{FD703217-D8D4-41B1-9D30-CD0DD198691E}" dt="2024-11-29T17:38:20.676" v="32"/>
          <ac:graphicFrameMkLst>
            <pc:docMk/>
            <pc:sldMk cId="1915497536" sldId="258"/>
            <ac:graphicFrameMk id="4" creationId="{473FD58F-6119-5A94-769E-163EC5C88788}"/>
          </ac:graphicFrameMkLst>
        </pc:graphicFrameChg>
      </pc:sldChg>
      <pc:sldChg chg="addSp modSp new mod">
        <pc:chgData name="PJ Grant" userId="21cab94c-7745-4db5-aa88-56cdc0183ba7" providerId="ADAL" clId="{FD703217-D8D4-41B1-9D30-CD0DD198691E}" dt="2024-11-29T17:38:20.738" v="46"/>
        <pc:sldMkLst>
          <pc:docMk/>
          <pc:sldMk cId="4179704141" sldId="259"/>
        </pc:sldMkLst>
        <pc:spChg chg="mod">
          <ac:chgData name="PJ Grant" userId="21cab94c-7745-4db5-aa88-56cdc0183ba7" providerId="ADAL" clId="{FD703217-D8D4-41B1-9D30-CD0DD198691E}" dt="2024-11-29T17:38:19.928" v="4"/>
          <ac:spMkLst>
            <pc:docMk/>
            <pc:sldMk cId="4179704141" sldId="259"/>
            <ac:spMk id="2" creationId="{917BFA6B-3CE1-DD48-8023-9C6EB28E613F}"/>
          </ac:spMkLst>
        </pc:spChg>
        <pc:spChg chg="mod">
          <ac:chgData name="PJ Grant" userId="21cab94c-7745-4db5-aa88-56cdc0183ba7" providerId="ADAL" clId="{FD703217-D8D4-41B1-9D30-CD0DD198691E}" dt="2024-11-29T17:38:19.928" v="4"/>
          <ac:spMkLst>
            <pc:docMk/>
            <pc:sldMk cId="4179704141" sldId="259"/>
            <ac:spMk id="3" creationId="{5F09FC70-1BA9-3A8D-1152-C514C47A40E3}"/>
          </ac:spMkLst>
        </pc:spChg>
        <pc:graphicFrameChg chg="add mod ord modVis">
          <ac:chgData name="PJ Grant" userId="21cab94c-7745-4db5-aa88-56cdc0183ba7" providerId="ADAL" clId="{FD703217-D8D4-41B1-9D30-CD0DD198691E}" dt="2024-11-29T17:38:20.738" v="46"/>
          <ac:graphicFrameMkLst>
            <pc:docMk/>
            <pc:sldMk cId="4179704141" sldId="259"/>
            <ac:graphicFrameMk id="4" creationId="{07CE8233-084B-7312-DB72-184F58808130}"/>
          </ac:graphicFrameMkLst>
        </pc:graphicFrameChg>
      </pc:sldChg>
      <pc:sldChg chg="new">
        <pc:chgData name="PJ Grant" userId="21cab94c-7745-4db5-aa88-56cdc0183ba7" providerId="ADAL" clId="{FD703217-D8D4-41B1-9D30-CD0DD198691E}" dt="2024-11-29T17:38:23.443" v="75" actId="680"/>
        <pc:sldMkLst>
          <pc:docMk/>
          <pc:sldMk cId="3321165102" sldId="260"/>
        </pc:sldMkLst>
      </pc:sldChg>
      <pc:sldChg chg="addSp delSp modSp new mod ord modClrScheme chgLayout">
        <pc:chgData name="PJ Grant" userId="21cab94c-7745-4db5-aa88-56cdc0183ba7" providerId="ADAL" clId="{FD703217-D8D4-41B1-9D30-CD0DD198691E}" dt="2024-11-29T17:52:55.331" v="981" actId="14100"/>
        <pc:sldMkLst>
          <pc:docMk/>
          <pc:sldMk cId="233223444" sldId="261"/>
        </pc:sldMkLst>
        <pc:spChg chg="del mod ord">
          <ac:chgData name="PJ Grant" userId="21cab94c-7745-4db5-aa88-56cdc0183ba7" providerId="ADAL" clId="{FD703217-D8D4-41B1-9D30-CD0DD198691E}" dt="2024-11-29T17:38:34.950" v="77" actId="700"/>
          <ac:spMkLst>
            <pc:docMk/>
            <pc:sldMk cId="233223444" sldId="261"/>
            <ac:spMk id="2" creationId="{904DA6CE-9AEA-F98F-5CB8-6A1C166AD0B5}"/>
          </ac:spMkLst>
        </pc:spChg>
        <pc:spChg chg="del mod ord">
          <ac:chgData name="PJ Grant" userId="21cab94c-7745-4db5-aa88-56cdc0183ba7" providerId="ADAL" clId="{FD703217-D8D4-41B1-9D30-CD0DD198691E}" dt="2024-11-29T17:38:34.950" v="77" actId="700"/>
          <ac:spMkLst>
            <pc:docMk/>
            <pc:sldMk cId="233223444" sldId="261"/>
            <ac:spMk id="3" creationId="{0A2EA5FE-7EDD-F2E4-41BE-E862A4A83ADE}"/>
          </ac:spMkLst>
        </pc:spChg>
        <pc:spChg chg="add mod ord">
          <ac:chgData name="PJ Grant" userId="21cab94c-7745-4db5-aa88-56cdc0183ba7" providerId="ADAL" clId="{FD703217-D8D4-41B1-9D30-CD0DD198691E}" dt="2024-11-29T17:38:34.950" v="77" actId="700"/>
          <ac:spMkLst>
            <pc:docMk/>
            <pc:sldMk cId="233223444" sldId="261"/>
            <ac:spMk id="4" creationId="{67A1685F-738E-8D02-13B3-6712387D71E8}"/>
          </ac:spMkLst>
        </pc:spChg>
        <pc:spChg chg="add mod ord">
          <ac:chgData name="PJ Grant" userId="21cab94c-7745-4db5-aa88-56cdc0183ba7" providerId="ADAL" clId="{FD703217-D8D4-41B1-9D30-CD0DD198691E}" dt="2024-11-29T17:52:55.331" v="981" actId="14100"/>
          <ac:spMkLst>
            <pc:docMk/>
            <pc:sldMk cId="233223444" sldId="261"/>
            <ac:spMk id="5" creationId="{DAFB15A6-47B3-DC6C-3457-24BEBE3AADBF}"/>
          </ac:spMkLst>
        </pc:spChg>
        <pc:spChg chg="add mod">
          <ac:chgData name="PJ Grant" userId="21cab94c-7745-4db5-aa88-56cdc0183ba7" providerId="ADAL" clId="{FD703217-D8D4-41B1-9D30-CD0DD198691E}" dt="2024-11-29T17:39:16.294" v="153" actId="2085"/>
          <ac:spMkLst>
            <pc:docMk/>
            <pc:sldMk cId="233223444" sldId="261"/>
            <ac:spMk id="7" creationId="{4F6BE9C3-EA3D-DADE-EC2D-0B54B0BBC7C6}"/>
          </ac:spMkLst>
        </pc:spChg>
        <pc:spChg chg="add mod">
          <ac:chgData name="PJ Grant" userId="21cab94c-7745-4db5-aa88-56cdc0183ba7" providerId="ADAL" clId="{FD703217-D8D4-41B1-9D30-CD0DD198691E}" dt="2024-11-29T17:44:56.409" v="321" actId="255"/>
          <ac:spMkLst>
            <pc:docMk/>
            <pc:sldMk cId="233223444" sldId="261"/>
            <ac:spMk id="10" creationId="{E93753F8-3478-569A-42B4-7063DD3B1DED}"/>
          </ac:spMkLst>
        </pc:spChg>
        <pc:spChg chg="add mod">
          <ac:chgData name="PJ Grant" userId="21cab94c-7745-4db5-aa88-56cdc0183ba7" providerId="ADAL" clId="{FD703217-D8D4-41B1-9D30-CD0DD198691E}" dt="2024-11-29T17:47:30.298" v="336" actId="1076"/>
          <ac:spMkLst>
            <pc:docMk/>
            <pc:sldMk cId="233223444" sldId="261"/>
            <ac:spMk id="11" creationId="{4EC5555D-07C8-4D00-C802-FC96A21FC29F}"/>
          </ac:spMkLst>
        </pc:spChg>
        <pc:spChg chg="add mod">
          <ac:chgData name="PJ Grant" userId="21cab94c-7745-4db5-aa88-56cdc0183ba7" providerId="ADAL" clId="{FD703217-D8D4-41B1-9D30-CD0DD198691E}" dt="2024-11-29T17:45:30.710" v="332" actId="1076"/>
          <ac:spMkLst>
            <pc:docMk/>
            <pc:sldMk cId="233223444" sldId="261"/>
            <ac:spMk id="12" creationId="{EBCE36ED-CFD1-11BD-2BF6-92DE9E953059}"/>
          </ac:spMkLst>
        </pc:spChg>
        <pc:spChg chg="add mod">
          <ac:chgData name="PJ Grant" userId="21cab94c-7745-4db5-aa88-56cdc0183ba7" providerId="ADAL" clId="{FD703217-D8D4-41B1-9D30-CD0DD198691E}" dt="2024-11-29T17:45:30.710" v="332" actId="1076"/>
          <ac:spMkLst>
            <pc:docMk/>
            <pc:sldMk cId="233223444" sldId="261"/>
            <ac:spMk id="13" creationId="{CE54B6C9-9AD8-1B2F-82B8-D535CC8AB315}"/>
          </ac:spMkLst>
        </pc:spChg>
        <pc:spChg chg="add mod">
          <ac:chgData name="PJ Grant" userId="21cab94c-7745-4db5-aa88-56cdc0183ba7" providerId="ADAL" clId="{FD703217-D8D4-41B1-9D30-CD0DD198691E}" dt="2024-11-29T17:45:06.548" v="325" actId="1076"/>
          <ac:spMkLst>
            <pc:docMk/>
            <pc:sldMk cId="233223444" sldId="261"/>
            <ac:spMk id="14" creationId="{CD25F384-C021-A1D3-6BE9-16FBE9686E13}"/>
          </ac:spMkLst>
        </pc:spChg>
        <pc:spChg chg="add mod">
          <ac:chgData name="PJ Grant" userId="21cab94c-7745-4db5-aa88-56cdc0183ba7" providerId="ADAL" clId="{FD703217-D8D4-41B1-9D30-CD0DD198691E}" dt="2024-11-29T17:45:01.623" v="323" actId="1076"/>
          <ac:spMkLst>
            <pc:docMk/>
            <pc:sldMk cId="233223444" sldId="261"/>
            <ac:spMk id="15" creationId="{18F53035-F3FE-EE64-834E-CE33C9131699}"/>
          </ac:spMkLst>
        </pc:spChg>
        <pc:spChg chg="add mod">
          <ac:chgData name="PJ Grant" userId="21cab94c-7745-4db5-aa88-56cdc0183ba7" providerId="ADAL" clId="{FD703217-D8D4-41B1-9D30-CD0DD198691E}" dt="2024-11-29T17:49:26.360" v="416" actId="20577"/>
          <ac:spMkLst>
            <pc:docMk/>
            <pc:sldMk cId="233223444" sldId="261"/>
            <ac:spMk id="21" creationId="{FDE11FA7-7D58-DF28-90BE-0E2CE18F88D3}"/>
          </ac:spMkLst>
        </pc:spChg>
        <pc:spChg chg="add mod">
          <ac:chgData name="PJ Grant" userId="21cab94c-7745-4db5-aa88-56cdc0183ba7" providerId="ADAL" clId="{FD703217-D8D4-41B1-9D30-CD0DD198691E}" dt="2024-11-29T17:45:37.073" v="334" actId="1076"/>
          <ac:spMkLst>
            <pc:docMk/>
            <pc:sldMk cId="233223444" sldId="261"/>
            <ac:spMk id="22" creationId="{5ABF07A2-0E4B-1AFE-D91E-F1B6DDD98809}"/>
          </ac:spMkLst>
        </pc:spChg>
        <pc:spChg chg="add mod">
          <ac:chgData name="PJ Grant" userId="21cab94c-7745-4db5-aa88-56cdc0183ba7" providerId="ADAL" clId="{FD703217-D8D4-41B1-9D30-CD0DD198691E}" dt="2024-11-29T17:47:51.844" v="355" actId="1076"/>
          <ac:spMkLst>
            <pc:docMk/>
            <pc:sldMk cId="233223444" sldId="261"/>
            <ac:spMk id="25" creationId="{0F49CFC3-F034-3420-8D50-AA1174A94F56}"/>
          </ac:spMkLst>
        </pc:spChg>
        <pc:spChg chg="add mod">
          <ac:chgData name="PJ Grant" userId="21cab94c-7745-4db5-aa88-56cdc0183ba7" providerId="ADAL" clId="{FD703217-D8D4-41B1-9D30-CD0DD198691E}" dt="2024-11-29T17:48:59.606" v="410" actId="14100"/>
          <ac:spMkLst>
            <pc:docMk/>
            <pc:sldMk cId="233223444" sldId="261"/>
            <ac:spMk id="26" creationId="{156EBD70-602E-A913-EA81-4FF1C3D62B72}"/>
          </ac:spMkLst>
        </pc:spChg>
        <pc:spChg chg="add mod">
          <ac:chgData name="PJ Grant" userId="21cab94c-7745-4db5-aa88-56cdc0183ba7" providerId="ADAL" clId="{FD703217-D8D4-41B1-9D30-CD0DD198691E}" dt="2024-11-29T17:48:57.513" v="409" actId="1076"/>
          <ac:spMkLst>
            <pc:docMk/>
            <pc:sldMk cId="233223444" sldId="261"/>
            <ac:spMk id="30" creationId="{A00E87A6-3C21-5FB3-E7B8-E9E7AFBFEEFE}"/>
          </ac:spMkLst>
        </pc:spChg>
        <pc:spChg chg="add mod">
          <ac:chgData name="PJ Grant" userId="21cab94c-7745-4db5-aa88-56cdc0183ba7" providerId="ADAL" clId="{FD703217-D8D4-41B1-9D30-CD0DD198691E}" dt="2024-11-29T17:50:04.778" v="453" actId="255"/>
          <ac:spMkLst>
            <pc:docMk/>
            <pc:sldMk cId="233223444" sldId="261"/>
            <ac:spMk id="31" creationId="{B534A289-F299-2B30-8D95-4BA19FB0E009}"/>
          </ac:spMkLst>
        </pc:spChg>
        <pc:spChg chg="add del mod">
          <ac:chgData name="PJ Grant" userId="21cab94c-7745-4db5-aa88-56cdc0183ba7" providerId="ADAL" clId="{FD703217-D8D4-41B1-9D30-CD0DD198691E}" dt="2024-11-29T17:49:55.533" v="451" actId="478"/>
          <ac:spMkLst>
            <pc:docMk/>
            <pc:sldMk cId="233223444" sldId="261"/>
            <ac:spMk id="32" creationId="{F726C0B7-FE3B-66C0-BE02-0542F62D240B}"/>
          </ac:spMkLst>
        </pc:spChg>
        <pc:graphicFrameChg chg="add mod ord modVis">
          <ac:chgData name="PJ Grant" userId="21cab94c-7745-4db5-aa88-56cdc0183ba7" providerId="ADAL" clId="{FD703217-D8D4-41B1-9D30-CD0DD198691E}" dt="2024-11-29T17:38:35.523" v="91"/>
          <ac:graphicFrameMkLst>
            <pc:docMk/>
            <pc:sldMk cId="233223444" sldId="261"/>
            <ac:graphicFrameMk id="6" creationId="{F13101C1-6494-8136-A583-DCACAA289AF7}"/>
          </ac:graphicFrameMkLst>
        </pc:graphicFrameChg>
        <pc:cxnChg chg="add mod">
          <ac:chgData name="PJ Grant" userId="21cab94c-7745-4db5-aa88-56cdc0183ba7" providerId="ADAL" clId="{FD703217-D8D4-41B1-9D30-CD0DD198691E}" dt="2024-11-29T17:42:22.272" v="318" actId="1076"/>
          <ac:cxnSpMkLst>
            <pc:docMk/>
            <pc:sldMk cId="233223444" sldId="261"/>
            <ac:cxnSpMk id="9" creationId="{9A37DA44-F173-19AF-EB72-C9C904EF666D}"/>
          </ac:cxnSpMkLst>
        </pc:cxnChg>
        <pc:cxnChg chg="add mod">
          <ac:chgData name="PJ Grant" userId="21cab94c-7745-4db5-aa88-56cdc0183ba7" providerId="ADAL" clId="{FD703217-D8D4-41B1-9D30-CD0DD198691E}" dt="2024-11-29T17:45:30.710" v="332" actId="1076"/>
          <ac:cxnSpMkLst>
            <pc:docMk/>
            <pc:sldMk cId="233223444" sldId="261"/>
            <ac:cxnSpMk id="16" creationId="{A5417318-E000-6F01-6C7A-944DA6AE349D}"/>
          </ac:cxnSpMkLst>
        </pc:cxnChg>
        <pc:cxnChg chg="add mod">
          <ac:chgData name="PJ Grant" userId="21cab94c-7745-4db5-aa88-56cdc0183ba7" providerId="ADAL" clId="{FD703217-D8D4-41B1-9D30-CD0DD198691E}" dt="2024-11-29T17:45:09.934" v="326" actId="14100"/>
          <ac:cxnSpMkLst>
            <pc:docMk/>
            <pc:sldMk cId="233223444" sldId="261"/>
            <ac:cxnSpMk id="19" creationId="{F6D43690-A91E-4E32-E81E-A499C7B5FDC4}"/>
          </ac:cxnSpMkLst>
        </pc:cxnChg>
        <pc:cxnChg chg="add mod">
          <ac:chgData name="PJ Grant" userId="21cab94c-7745-4db5-aa88-56cdc0183ba7" providerId="ADAL" clId="{FD703217-D8D4-41B1-9D30-CD0DD198691E}" dt="2024-11-29T17:49:04.437" v="415" actId="1035"/>
          <ac:cxnSpMkLst>
            <pc:docMk/>
            <pc:sldMk cId="233223444" sldId="261"/>
            <ac:cxnSpMk id="27" creationId="{73D6DE09-2D9D-2193-1034-EC5727291D1F}"/>
          </ac:cxnSpMkLst>
        </pc:cxnChg>
      </pc:sldChg>
      <pc:sldChg chg="addSp delSp modSp new mod">
        <pc:chgData name="PJ Grant" userId="21cab94c-7745-4db5-aa88-56cdc0183ba7" providerId="ADAL" clId="{FD703217-D8D4-41B1-9D30-CD0DD198691E}" dt="2024-11-29T17:53:15.134" v="1010" actId="20577"/>
        <pc:sldMkLst>
          <pc:docMk/>
          <pc:sldMk cId="1548672113" sldId="262"/>
        </pc:sldMkLst>
        <pc:spChg chg="mod">
          <ac:chgData name="PJ Grant" userId="21cab94c-7745-4db5-aa88-56cdc0183ba7" providerId="ADAL" clId="{FD703217-D8D4-41B1-9D30-CD0DD198691E}" dt="2024-11-29T17:53:15.134" v="1010" actId="20577"/>
          <ac:spMkLst>
            <pc:docMk/>
            <pc:sldMk cId="1548672113" sldId="262"/>
            <ac:spMk id="2" creationId="{9AADBF26-6873-9B17-C58A-86B9E108D556}"/>
          </ac:spMkLst>
        </pc:spChg>
        <pc:spChg chg="mod">
          <ac:chgData name="PJ Grant" userId="21cab94c-7745-4db5-aa88-56cdc0183ba7" providerId="ADAL" clId="{FD703217-D8D4-41B1-9D30-CD0DD198691E}" dt="2024-11-29T17:51:57.700" v="662" actId="948"/>
          <ac:spMkLst>
            <pc:docMk/>
            <pc:sldMk cId="1548672113" sldId="262"/>
            <ac:spMk id="3" creationId="{247A5BDF-10D8-8733-DADA-D9C46D00010C}"/>
          </ac:spMkLst>
        </pc:spChg>
        <pc:spChg chg="add del mod modVis">
          <ac:chgData name="PJ Grant" userId="21cab94c-7745-4db5-aa88-56cdc0183ba7" providerId="ADAL" clId="{FD703217-D8D4-41B1-9D30-CD0DD198691E}" dt="2024-11-29T17:51:08.453" v="573"/>
          <ac:spMkLst>
            <pc:docMk/>
            <pc:sldMk cId="1548672113" sldId="262"/>
            <ac:spMk id="4" creationId="{8B5CD830-622D-9639-2D0F-151A97E19BB8}"/>
          </ac:spMkLst>
        </pc:spChg>
        <pc:spChg chg="add del mod modVis">
          <ac:chgData name="PJ Grant" userId="21cab94c-7745-4db5-aa88-56cdc0183ba7" providerId="ADAL" clId="{FD703217-D8D4-41B1-9D30-CD0DD198691E}" dt="2024-11-29T17:51:55.861" v="623"/>
          <ac:spMkLst>
            <pc:docMk/>
            <pc:sldMk cId="1548672113" sldId="262"/>
            <ac:spMk id="6" creationId="{F57CF592-7268-A17A-9E43-8C874056663E}"/>
          </ac:spMkLst>
        </pc:spChg>
        <pc:spChg chg="add del mod modVis">
          <ac:chgData name="PJ Grant" userId="21cab94c-7745-4db5-aa88-56cdc0183ba7" providerId="ADAL" clId="{FD703217-D8D4-41B1-9D30-CD0DD198691E}" dt="2024-11-29T17:51:57.408" v="658"/>
          <ac:spMkLst>
            <pc:docMk/>
            <pc:sldMk cId="1548672113" sldId="262"/>
            <ac:spMk id="7" creationId="{583D9F3A-5551-6045-FD12-70A1D4052A2F}"/>
          </ac:spMkLst>
        </pc:spChg>
        <pc:spChg chg="add del mod modVis">
          <ac:chgData name="PJ Grant" userId="21cab94c-7745-4db5-aa88-56cdc0183ba7" providerId="ADAL" clId="{FD703217-D8D4-41B1-9D30-CD0DD198691E}" dt="2024-11-29T17:51:57.720" v="684"/>
          <ac:spMkLst>
            <pc:docMk/>
            <pc:sldMk cId="1548672113" sldId="262"/>
            <ac:spMk id="8" creationId="{D67B6A75-B193-6250-F985-446C0D3489B5}"/>
          </ac:spMkLst>
        </pc:spChg>
        <pc:graphicFrameChg chg="add mod ord modVis">
          <ac:chgData name="PJ Grant" userId="21cab94c-7745-4db5-aa88-56cdc0183ba7" providerId="ADAL" clId="{FD703217-D8D4-41B1-9D30-CD0DD198691E}" dt="2024-11-29T17:51:57.721" v="686"/>
          <ac:graphicFrameMkLst>
            <pc:docMk/>
            <pc:sldMk cId="1548672113" sldId="262"/>
            <ac:graphicFrameMk id="5" creationId="{ED8579B6-E1E7-1E40-7D14-9830658C8E91}"/>
          </ac:graphicFrameMkLst>
        </pc:graphicFrameChg>
      </pc:sldChg>
      <pc:sldChg chg="addSp delSp modSp new mod">
        <pc:chgData name="PJ Grant" userId="21cab94c-7745-4db5-aa88-56cdc0183ba7" providerId="ADAL" clId="{FD703217-D8D4-41B1-9D30-CD0DD198691E}" dt="2024-11-29T17:53:31.353" v="1049" actId="20577"/>
        <pc:sldMkLst>
          <pc:docMk/>
          <pc:sldMk cId="3363102879" sldId="263"/>
        </pc:sldMkLst>
        <pc:spChg chg="mod">
          <ac:chgData name="PJ Grant" userId="21cab94c-7745-4db5-aa88-56cdc0183ba7" providerId="ADAL" clId="{FD703217-D8D4-41B1-9D30-CD0DD198691E}" dt="2024-11-29T17:53:31.353" v="1049" actId="20577"/>
          <ac:spMkLst>
            <pc:docMk/>
            <pc:sldMk cId="3363102879" sldId="263"/>
            <ac:spMk id="2" creationId="{8AE86D44-7C76-D7C9-9652-5A7BE75BDA97}"/>
          </ac:spMkLst>
        </pc:spChg>
        <pc:spChg chg="mod">
          <ac:chgData name="PJ Grant" userId="21cab94c-7745-4db5-aa88-56cdc0183ba7" providerId="ADAL" clId="{FD703217-D8D4-41B1-9D30-CD0DD198691E}" dt="2024-11-29T17:51:00.650" v="502" actId="948"/>
          <ac:spMkLst>
            <pc:docMk/>
            <pc:sldMk cId="3363102879" sldId="263"/>
            <ac:spMk id="3" creationId="{562E4A2B-0AE7-6802-F0DE-04B20148E89F}"/>
          </ac:spMkLst>
        </pc:spChg>
        <pc:spChg chg="add del mod modVis">
          <ac:chgData name="PJ Grant" userId="21cab94c-7745-4db5-aa88-56cdc0183ba7" providerId="ADAL" clId="{FD703217-D8D4-41B1-9D30-CD0DD198691E}" dt="2024-11-29T17:51:00.688" v="524"/>
          <ac:spMkLst>
            <pc:docMk/>
            <pc:sldMk cId="3363102879" sldId="263"/>
            <ac:spMk id="5" creationId="{EA20A544-1EB9-0BF3-6C93-BA14490E3099}"/>
          </ac:spMkLst>
        </pc:spChg>
        <pc:graphicFrameChg chg="add mod ord modVis">
          <ac:chgData name="PJ Grant" userId="21cab94c-7745-4db5-aa88-56cdc0183ba7" providerId="ADAL" clId="{FD703217-D8D4-41B1-9D30-CD0DD198691E}" dt="2024-11-29T17:51:00.689" v="526"/>
          <ac:graphicFrameMkLst>
            <pc:docMk/>
            <pc:sldMk cId="3363102879" sldId="263"/>
            <ac:graphicFrameMk id="4" creationId="{A6107874-890A-51EC-03EB-5730DB194087}"/>
          </ac:graphicFrameMkLst>
        </pc:graphicFrameChg>
      </pc:sldChg>
      <pc:sldChg chg="addSp delSp modSp new mod">
        <pc:chgData name="PJ Grant" userId="21cab94c-7745-4db5-aa88-56cdc0183ba7" providerId="ADAL" clId="{FD703217-D8D4-41B1-9D30-CD0DD198691E}" dt="2024-11-29T17:53:46.336" v="1102" actId="20577"/>
        <pc:sldMkLst>
          <pc:docMk/>
          <pc:sldMk cId="88160055" sldId="264"/>
        </pc:sldMkLst>
        <pc:spChg chg="mod">
          <ac:chgData name="PJ Grant" userId="21cab94c-7745-4db5-aa88-56cdc0183ba7" providerId="ADAL" clId="{FD703217-D8D4-41B1-9D30-CD0DD198691E}" dt="2024-11-29T17:53:46.336" v="1102" actId="20577"/>
          <ac:spMkLst>
            <pc:docMk/>
            <pc:sldMk cId="88160055" sldId="264"/>
            <ac:spMk id="2" creationId="{929A062F-85BE-F1F8-6145-F876EAC2A854}"/>
          </ac:spMkLst>
        </pc:spChg>
        <pc:spChg chg="mod">
          <ac:chgData name="PJ Grant" userId="21cab94c-7745-4db5-aa88-56cdc0183ba7" providerId="ADAL" clId="{FD703217-D8D4-41B1-9D30-CD0DD198691E}" dt="2024-11-29T17:52:34.809" v="913" actId="948"/>
          <ac:spMkLst>
            <pc:docMk/>
            <pc:sldMk cId="88160055" sldId="264"/>
            <ac:spMk id="3" creationId="{36984DD2-0781-6FDD-A9F4-592D2B578C72}"/>
          </ac:spMkLst>
        </pc:spChg>
        <pc:spChg chg="add del mod modVis">
          <ac:chgData name="PJ Grant" userId="21cab94c-7745-4db5-aa88-56cdc0183ba7" providerId="ADAL" clId="{FD703217-D8D4-41B1-9D30-CD0DD198691E}" dt="2024-11-29T17:52:12.379" v="723"/>
          <ac:spMkLst>
            <pc:docMk/>
            <pc:sldMk cId="88160055" sldId="264"/>
            <ac:spMk id="4" creationId="{238B2217-F559-8F56-852F-E9E37FB29E86}"/>
          </ac:spMkLst>
        </pc:spChg>
        <pc:spChg chg="add del mod modVis">
          <ac:chgData name="PJ Grant" userId="21cab94c-7745-4db5-aa88-56cdc0183ba7" providerId="ADAL" clId="{FD703217-D8D4-41B1-9D30-CD0DD198691E}" dt="2024-11-29T17:52:14.889" v="778"/>
          <ac:spMkLst>
            <pc:docMk/>
            <pc:sldMk cId="88160055" sldId="264"/>
            <ac:spMk id="6" creationId="{0DEBD9BF-2FB6-1E79-F0D0-4B1194991D1E}"/>
          </ac:spMkLst>
        </pc:spChg>
        <pc:spChg chg="add del mod modVis">
          <ac:chgData name="PJ Grant" userId="21cab94c-7745-4db5-aa88-56cdc0183ba7" providerId="ADAL" clId="{FD703217-D8D4-41B1-9D30-CD0DD198691E}" dt="2024-11-29T17:52:17.903" v="805"/>
          <ac:spMkLst>
            <pc:docMk/>
            <pc:sldMk cId="88160055" sldId="264"/>
            <ac:spMk id="7" creationId="{CBE29587-AC42-4DE9-7BF7-CD81B5CB0C14}"/>
          </ac:spMkLst>
        </pc:spChg>
        <pc:spChg chg="add del mod modVis">
          <ac:chgData name="PJ Grant" userId="21cab94c-7745-4db5-aa88-56cdc0183ba7" providerId="ADAL" clId="{FD703217-D8D4-41B1-9D30-CD0DD198691E}" dt="2024-11-29T17:52:25.898" v="841"/>
          <ac:spMkLst>
            <pc:docMk/>
            <pc:sldMk cId="88160055" sldId="264"/>
            <ac:spMk id="8" creationId="{296FA7BB-AB4A-0C58-4B79-571BFB7E1AB6}"/>
          </ac:spMkLst>
        </pc:spChg>
        <pc:spChg chg="add del mod modVis">
          <ac:chgData name="PJ Grant" userId="21cab94c-7745-4db5-aa88-56cdc0183ba7" providerId="ADAL" clId="{FD703217-D8D4-41B1-9D30-CD0DD198691E}" dt="2024-11-29T17:52:34.823" v="935"/>
          <ac:spMkLst>
            <pc:docMk/>
            <pc:sldMk cId="88160055" sldId="264"/>
            <ac:spMk id="9" creationId="{EAB3B085-656A-E8B6-FFCF-12851054FAC6}"/>
          </ac:spMkLst>
        </pc:spChg>
        <pc:graphicFrameChg chg="add mod ord modVis">
          <ac:chgData name="PJ Grant" userId="21cab94c-7745-4db5-aa88-56cdc0183ba7" providerId="ADAL" clId="{FD703217-D8D4-41B1-9D30-CD0DD198691E}" dt="2024-11-29T17:52:34.824" v="937"/>
          <ac:graphicFrameMkLst>
            <pc:docMk/>
            <pc:sldMk cId="88160055" sldId="264"/>
            <ac:graphicFrameMk id="5" creationId="{B460D102-AA55-C315-929C-F1E787D16892}"/>
          </ac:graphicFrameMkLst>
        </pc:graphicFrameChg>
      </pc:sldChg>
      <pc:sldMasterChg chg="addSp modSp mod">
        <pc:chgData name="PJ Grant" userId="21cab94c-7745-4db5-aa88-56cdc0183ba7" providerId="ADAL" clId="{FD703217-D8D4-41B1-9D30-CD0DD198691E}" dt="2024-11-29T17:38:20.871" v="74"/>
        <pc:sldMasterMkLst>
          <pc:docMk/>
          <pc:sldMasterMk cId="3314531895" sldId="2147483660"/>
        </pc:sldMasterMkLst>
        <pc:graphicFrameChg chg="add mod ord modVis">
          <ac:chgData name="PJ Grant" userId="21cab94c-7745-4db5-aa88-56cdc0183ba7" providerId="ADAL" clId="{FD703217-D8D4-41B1-9D30-CD0DD198691E}" dt="2024-11-29T17:38:20.871" v="74"/>
          <ac:graphicFrameMkLst>
            <pc:docMk/>
            <pc:sldMasterMk cId="3314531895" sldId="2147483660"/>
            <ac:graphicFrameMk id="2" creationId="{49C156AC-1898-3D7D-9DBB-4D9880C84E9E}"/>
          </ac:graphicFrameMkLst>
        </pc:graphicFrame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ext, screenshot, font, graphics&#10;&#10;Description automatically generated">
            <a:extLst>
              <a:ext uri="{FF2B5EF4-FFF2-40B4-BE49-F238E27FC236}">
                <a16:creationId xmlns:a16="http://schemas.microsoft.com/office/drawing/2014/main" id="{93F6A522-F2FC-1263-BA89-D3EA8780AA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97" t="1197"/>
          <a:stretch/>
        </p:blipFill>
        <p:spPr>
          <a:xfrm>
            <a:off x="-67880" y="-56273"/>
            <a:ext cx="12327760" cy="6970545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0E2CD4-B95C-14C1-D508-2718B132AE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D03872-1E14-4E65-B532-EA1C01B3513A}" type="datetimeFigureOut">
              <a:rPr lang="en-US" smtClean="0"/>
              <a:t>11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12834B-2E9E-06F1-CED1-927011FA8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CE9CE4-6ADD-D08C-D517-EA004FEC78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82800" y="1962479"/>
            <a:ext cx="9061450" cy="10035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600" b="1">
                <a:solidFill>
                  <a:schemeClr val="bg1"/>
                </a:solidFill>
                <a:latin typeface="Arial Nova" panose="020B0504020202020204" pitchFamily="34" charset="0"/>
              </a:defRPr>
            </a:lvl1pPr>
            <a:lvl2pPr marL="0" indent="0">
              <a:buNone/>
              <a:defRPr sz="4400">
                <a:solidFill>
                  <a:srgbClr val="4CADE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148927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ext, screenshot, font, graphics&#10;&#10;Description automatically generated">
            <a:extLst>
              <a:ext uri="{FF2B5EF4-FFF2-40B4-BE49-F238E27FC236}">
                <a16:creationId xmlns:a16="http://schemas.microsoft.com/office/drawing/2014/main" id="{93F6A522-F2FC-1263-BA89-D3EA8780AA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97" t="1197"/>
          <a:stretch/>
        </p:blipFill>
        <p:spPr>
          <a:xfrm>
            <a:off x="-67880" y="-56273"/>
            <a:ext cx="12327760" cy="6970545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0E2CD4-B95C-14C1-D508-2718B132AE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D03872-1E14-4E65-B532-EA1C01B3513A}" type="datetimeFigureOut">
              <a:rPr lang="en-US" smtClean="0"/>
              <a:t>11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12834B-2E9E-06F1-CED1-927011FA8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0A3A6D9-6B12-6B60-8AB7-58A13491D8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4865" y="2550157"/>
            <a:ext cx="11642269" cy="110799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600" b="1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88841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4" descr="A picture containing white&#10;&#10;Description automatically generated">
            <a:extLst>
              <a:ext uri="{FF2B5EF4-FFF2-40B4-BE49-F238E27FC236}">
                <a16:creationId xmlns:a16="http://schemas.microsoft.com/office/drawing/2014/main" id="{FEE140E2-CF5C-AE46-899B-B15FFAF10E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753B6F1-A667-0538-4A98-88A5EDA1D3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6698" y="136524"/>
            <a:ext cx="6416246" cy="318932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Autofit/>
          </a:bodyPr>
          <a:lstStyle>
            <a:lvl1pPr marL="0" indent="0">
              <a:buNone/>
              <a:defRPr lang="en-US" sz="1200" spc="300" dirty="0" smtClean="0">
                <a:solidFill>
                  <a:srgbClr val="002060"/>
                </a:solidFill>
                <a:ea typeface="+mn-lt"/>
                <a:cs typeface="+mn-lt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7D9BFF-7C26-41F1-E945-2844D555611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800" y="6356350"/>
            <a:ext cx="2743200" cy="365125"/>
          </a:xfrm>
        </p:spPr>
        <p:txBody>
          <a:bodyPr/>
          <a:lstStyle/>
          <a:p>
            <a:fld id="{6FD03872-1E14-4E65-B532-EA1C01B3513A}" type="datetimeFigureOut">
              <a:rPr lang="en-US" smtClean="0"/>
              <a:t>11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EF1D53-8376-F1AC-3479-CD5C39496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B079F9-1734-347A-459F-A188ED8110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98000" y="6356350"/>
            <a:ext cx="2743200" cy="365125"/>
          </a:xfrm>
        </p:spPr>
        <p:txBody>
          <a:bodyPr/>
          <a:lstStyle/>
          <a:p>
            <a:fld id="{9F3C3670-40C5-4169-ACA1-1C077946A048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EE5CB8D-25C4-C586-538F-FE1E2EB05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699" y="453306"/>
            <a:ext cx="11642268" cy="461665"/>
          </a:xfrm>
          <a:prstGeom prst="rect">
            <a:avLst/>
          </a:prstGeom>
        </p:spPr>
        <p:txBody>
          <a:bodyPr/>
          <a:lstStyle>
            <a:lvl1pPr>
              <a:defRPr lang="en-US" sz="2400" b="1" kern="1200" dirty="0" smtClean="0">
                <a:solidFill>
                  <a:srgbClr val="0B2738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9359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93697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4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5AF19DD-2916-44AA-B4B1-07C3706CE91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58100" y="1651000"/>
            <a:ext cx="3781426" cy="4443054"/>
          </a:xfrm>
          <a:custGeom>
            <a:avLst/>
            <a:gdLst>
              <a:gd name="connsiteX0" fmla="*/ 0 w 5343526"/>
              <a:gd name="connsiteY0" fmla="*/ 0 h 3465154"/>
              <a:gd name="connsiteX1" fmla="*/ 5343526 w 5343526"/>
              <a:gd name="connsiteY1" fmla="*/ 0 h 3465154"/>
              <a:gd name="connsiteX2" fmla="*/ 5343526 w 5343526"/>
              <a:gd name="connsiteY2" fmla="*/ 3465154 h 3465154"/>
              <a:gd name="connsiteX3" fmla="*/ 0 w 5343526"/>
              <a:gd name="connsiteY3" fmla="*/ 3465154 h 3465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43526" h="3465154">
                <a:moveTo>
                  <a:pt x="0" y="0"/>
                </a:moveTo>
                <a:lnTo>
                  <a:pt x="5343526" y="0"/>
                </a:lnTo>
                <a:lnTo>
                  <a:pt x="5343526" y="3465154"/>
                </a:lnTo>
                <a:lnTo>
                  <a:pt x="0" y="3465154"/>
                </a:lnTo>
                <a:close/>
              </a:path>
            </a:pathLst>
          </a:custGeom>
          <a:effectLst>
            <a:outerShdw blurRad="228600" dist="127000" dir="2700000" algn="tl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645425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23243-8CED-97E6-8FCD-6B5A36DE9D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87A559-90E2-9470-1D87-C7CF2665D4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F3E045-2A9C-2BA1-DE08-51C6D6DB8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D03872-1E14-4E65-B532-EA1C01B3513A}" type="datetimeFigureOut">
              <a:rPr lang="en-US" smtClean="0"/>
              <a:t>11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37D972-464F-C0B7-19E6-A87E1ECF68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21F3FF-4E8F-2E71-C6BA-A8FDFB080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3C3670-40C5-4169-ACA1-1C077946A0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137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161236-B9CE-065C-753D-B0C51B274E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394243-7793-135B-B120-A27F6A8AE2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0B9205-E668-BAD7-D7BC-BF488313D4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D03872-1E14-4E65-B532-EA1C01B3513A}" type="datetimeFigureOut">
              <a:rPr lang="en-US" smtClean="0"/>
              <a:t>11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AB5597-22E1-F50C-6C59-774314906B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684B0F-BAA7-46ED-0B5C-D6E58ECE9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3C3670-40C5-4169-ACA1-1C077946A0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6392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9C156AC-1898-3D7D-9DBB-4D9880C84E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134432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C156AC-1898-3D7D-9DBB-4D9880C84E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Content Placeholder 4" descr="A picture containing white&#10;&#10;Description automatically generated">
            <a:extLst>
              <a:ext uri="{FF2B5EF4-FFF2-40B4-BE49-F238E27FC236}">
                <a16:creationId xmlns:a16="http://schemas.microsoft.com/office/drawing/2014/main" id="{05E57D88-8F17-78A1-5F19-2AC0DE2D4DB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-4471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0317EE-DD15-6552-9E35-3284EF93AA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8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D03872-1E14-4E65-B532-EA1C01B3513A}" type="datetimeFigureOut">
              <a:rPr lang="en-US" smtClean="0"/>
              <a:t>11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762656-F90C-F7F3-5DC6-DF6615C6C0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B366D5-938E-C5DD-D903-DB3D7D7617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980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3C3670-40C5-4169-ACA1-1C077946A0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531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13101C1-6494-8136-A583-DCACAA289A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9893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3101C1-6494-8136-A583-DCACAA289A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FB15A6-47B3-DC6C-3457-24BEBE3AAD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6698" y="136524"/>
            <a:ext cx="11239502" cy="318932"/>
          </a:xfrm>
        </p:spPr>
        <p:txBody>
          <a:bodyPr/>
          <a:lstStyle/>
          <a:p>
            <a:r>
              <a:rPr lang="en-US" dirty="0"/>
              <a:t>DSE5002 PROJECT 1 | OVERVIEW OF COMMON DATA SCIENCE RO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7A1685F-738E-8D02-13B3-6712387D71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F6BE9C3-EA3D-DADE-EC2D-0B54B0BBC7C6}"/>
              </a:ext>
            </a:extLst>
          </p:cNvPr>
          <p:cNvSpPr/>
          <p:nvPr/>
        </p:nvSpPr>
        <p:spPr>
          <a:xfrm>
            <a:off x="10708817" y="5623644"/>
            <a:ext cx="1200150" cy="109537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A37DA44-F173-19AF-EB72-C9C904EF666D}"/>
              </a:ext>
            </a:extLst>
          </p:cNvPr>
          <p:cNvCxnSpPr/>
          <p:nvPr/>
        </p:nvCxnSpPr>
        <p:spPr>
          <a:xfrm>
            <a:off x="266698" y="1685925"/>
            <a:ext cx="1164226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93753F8-3478-569A-42B4-7063DD3B1DED}"/>
              </a:ext>
            </a:extLst>
          </p:cNvPr>
          <p:cNvSpPr txBox="1"/>
          <p:nvPr/>
        </p:nvSpPr>
        <p:spPr>
          <a:xfrm>
            <a:off x="266698" y="1347371"/>
            <a:ext cx="6762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Ro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C5555D-07C8-4D00-C802-FC96A21FC29F}"/>
              </a:ext>
            </a:extLst>
          </p:cNvPr>
          <p:cNvSpPr txBox="1"/>
          <p:nvPr/>
        </p:nvSpPr>
        <p:spPr>
          <a:xfrm>
            <a:off x="2522076" y="1347371"/>
            <a:ext cx="10497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Descrip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BCE36ED-CFD1-11BD-2BF6-92DE9E953059}"/>
              </a:ext>
            </a:extLst>
          </p:cNvPr>
          <p:cNvSpPr txBox="1"/>
          <p:nvPr/>
        </p:nvSpPr>
        <p:spPr>
          <a:xfrm>
            <a:off x="6356498" y="1347371"/>
            <a:ext cx="13253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Average Sala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54B6C9-9AD8-1B2F-82B8-D535CC8AB315}"/>
              </a:ext>
            </a:extLst>
          </p:cNvPr>
          <p:cNvSpPr txBox="1"/>
          <p:nvPr/>
        </p:nvSpPr>
        <p:spPr>
          <a:xfrm>
            <a:off x="7616049" y="1347371"/>
            <a:ext cx="14641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CAGR, 2020-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25F384-C021-A1D3-6BE9-16FBE9686E13}"/>
              </a:ext>
            </a:extLst>
          </p:cNvPr>
          <p:cNvSpPr txBox="1"/>
          <p:nvPr/>
        </p:nvSpPr>
        <p:spPr>
          <a:xfrm>
            <a:off x="9201118" y="1347371"/>
            <a:ext cx="1309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Average Salar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8F53035-F3FE-EE64-834E-CE33C9131699}"/>
              </a:ext>
            </a:extLst>
          </p:cNvPr>
          <p:cNvSpPr txBox="1"/>
          <p:nvPr/>
        </p:nvSpPr>
        <p:spPr>
          <a:xfrm>
            <a:off x="10461168" y="1347371"/>
            <a:ext cx="14641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CAGR, 2020-2022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5417318-E000-6F01-6C7A-944DA6AE349D}"/>
              </a:ext>
            </a:extLst>
          </p:cNvPr>
          <p:cNvCxnSpPr>
            <a:cxnSpLocks/>
          </p:cNvCxnSpPr>
          <p:nvPr/>
        </p:nvCxnSpPr>
        <p:spPr>
          <a:xfrm>
            <a:off x="6432230" y="1347371"/>
            <a:ext cx="26248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6D43690-A91E-4E32-E81E-A499C7B5FDC4}"/>
              </a:ext>
            </a:extLst>
          </p:cNvPr>
          <p:cNvCxnSpPr>
            <a:cxnSpLocks/>
          </p:cNvCxnSpPr>
          <p:nvPr/>
        </p:nvCxnSpPr>
        <p:spPr>
          <a:xfrm>
            <a:off x="9201118" y="1347371"/>
            <a:ext cx="270784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FDE11FA7-7D58-DF28-90BE-0E2CE18F88D3}"/>
              </a:ext>
            </a:extLst>
          </p:cNvPr>
          <p:cNvSpPr txBox="1"/>
          <p:nvPr/>
        </p:nvSpPr>
        <p:spPr>
          <a:xfrm>
            <a:off x="7357510" y="1008816"/>
            <a:ext cx="9062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Onshore</a:t>
            </a:r>
            <a:r>
              <a:rPr lang="en-US" sz="1400" b="1" baseline="30000" dirty="0"/>
              <a:t>1</a:t>
            </a:r>
            <a:endParaRPr lang="en-US" sz="1400" b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ABF07A2-0E4B-1AFE-D91E-F1B6DDD98809}"/>
              </a:ext>
            </a:extLst>
          </p:cNvPr>
          <p:cNvSpPr txBox="1"/>
          <p:nvPr/>
        </p:nvSpPr>
        <p:spPr>
          <a:xfrm>
            <a:off x="10019240" y="1008816"/>
            <a:ext cx="9817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Offshor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49CFC3-F034-3420-8D50-AA1174A94F56}"/>
              </a:ext>
            </a:extLst>
          </p:cNvPr>
          <p:cNvSpPr txBox="1"/>
          <p:nvPr/>
        </p:nvSpPr>
        <p:spPr>
          <a:xfrm>
            <a:off x="4668506" y="1347371"/>
            <a:ext cx="14193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% Remote Work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56EBD70-602E-A913-EA81-4FF1C3D62B72}"/>
              </a:ext>
            </a:extLst>
          </p:cNvPr>
          <p:cNvSpPr/>
          <p:nvPr/>
        </p:nvSpPr>
        <p:spPr>
          <a:xfrm>
            <a:off x="266698" y="4962943"/>
            <a:ext cx="11642269" cy="1441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3D6DE09-2D9D-2193-1034-EC5727291D1F}"/>
              </a:ext>
            </a:extLst>
          </p:cNvPr>
          <p:cNvCxnSpPr>
            <a:cxnSpLocks/>
          </p:cNvCxnSpPr>
          <p:nvPr/>
        </p:nvCxnSpPr>
        <p:spPr>
          <a:xfrm>
            <a:off x="367665" y="5400982"/>
            <a:ext cx="113061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A00E87A6-3C21-5FB3-E7B8-E9E7AFBFEEFE}"/>
              </a:ext>
            </a:extLst>
          </p:cNvPr>
          <p:cNvSpPr txBox="1"/>
          <p:nvPr/>
        </p:nvSpPr>
        <p:spPr>
          <a:xfrm>
            <a:off x="367665" y="5062836"/>
            <a:ext cx="13582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Key Takeaway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534A289-F299-2B30-8D95-4BA19FB0E009}"/>
              </a:ext>
            </a:extLst>
          </p:cNvPr>
          <p:cNvSpPr txBox="1"/>
          <p:nvPr/>
        </p:nvSpPr>
        <p:spPr>
          <a:xfrm>
            <a:off x="218440" y="6504584"/>
            <a:ext cx="13582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FF0000"/>
                </a:solidFill>
              </a:rPr>
              <a:t>1. Countries included</a:t>
            </a:r>
          </a:p>
        </p:txBody>
      </p:sp>
    </p:spTree>
    <p:extLst>
      <p:ext uri="{BB962C8B-B14F-4D97-AF65-F5344CB8AC3E}">
        <p14:creationId xmlns:p14="http://schemas.microsoft.com/office/powerpoint/2010/main" val="2332234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D8579B6-E1E7-1E40-7D14-9830658C8E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9359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8579B6-E1E7-1E40-7D14-9830658C8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AADBF26-6873-9B17-C58A-86B9E108D5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6698" y="136524"/>
            <a:ext cx="12026902" cy="318932"/>
          </a:xfrm>
        </p:spPr>
        <p:txBody>
          <a:bodyPr/>
          <a:lstStyle/>
          <a:p>
            <a:r>
              <a:rPr lang="en-US" dirty="0"/>
              <a:t>DSE5002 PROJECT 1 | RECOMMEND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47A5BDF-10D8-8733-DADA-D9C46D000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rting recommendation</a:t>
            </a:r>
          </a:p>
        </p:txBody>
      </p:sp>
    </p:spTree>
    <p:extLst>
      <p:ext uri="{BB962C8B-B14F-4D97-AF65-F5344CB8AC3E}">
        <p14:creationId xmlns:p14="http://schemas.microsoft.com/office/powerpoint/2010/main" val="15486721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6107874-890A-51EC-03EB-5730DB1940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9405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107874-890A-51EC-03EB-5730DB194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AE86D44-7C76-D7C9-9652-5A7BE75BDA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SE5002 PROJECT 1 | FUTURE TEA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2E4A2B-0AE7-6802-F0DE-04B20148E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ture team structure</a:t>
            </a:r>
          </a:p>
        </p:txBody>
      </p:sp>
    </p:spTree>
    <p:extLst>
      <p:ext uri="{BB962C8B-B14F-4D97-AF65-F5344CB8AC3E}">
        <p14:creationId xmlns:p14="http://schemas.microsoft.com/office/powerpoint/2010/main" val="33631028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60D102-AA55-C315-929C-F1E787D168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7335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60D102-AA55-C315-929C-F1E787D168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29A062F-85BE-F1F8-6145-F876EAC2A8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SE5002 PROJECT 1 | NEXT STEPS, CONSIDERATION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984DD2-0781-6FDD-A9F4-592D2B578C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xt Steps, Considerations (resources to conduct technical interviews)</a:t>
            </a:r>
          </a:p>
        </p:txBody>
      </p:sp>
    </p:spTree>
    <p:extLst>
      <p:ext uri="{BB962C8B-B14F-4D97-AF65-F5344CB8AC3E}">
        <p14:creationId xmlns:p14="http://schemas.microsoft.com/office/powerpoint/2010/main" val="881600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C9E55D-40BF-624D-3D39-159164D434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751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C9E55D-40BF-624D-3D39-159164D434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1C34D3-999D-9097-E589-0E21457EE6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E30EB22-4A8B-6FBB-CA4F-B5A690F8138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6687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F3265-C4B8-3429-E739-F620A3020D0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8EC31D-2B80-0E76-9D74-D3735BC6723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11651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1DD4A1B-E5F0-69B0-C286-0BF32F5D34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258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DD4A1B-E5F0-69B0-C286-0BF32F5D34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58A79F-5195-52E6-8B44-D58219B89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FEC14D-B70D-7EA4-FB5F-1481474726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1266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73FD58F-6119-5A94-769E-163EC5C887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3781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3FD58F-6119-5A94-769E-163EC5C887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4C2CC5-12CF-A455-C1C9-EC1C904796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2BE164-40AE-A6C3-203E-E39A585E23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4975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7CE8233-084B-7312-DB72-184F588081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186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CE8233-084B-7312-DB72-184F588081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7BFA6B-3CE1-DD48-8023-9C6EB28E61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09FC70-1BA9-3A8D-1152-C514C47A40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7041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ummit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weetWaterApopka_Opportunity Summary" id="{0933061B-3A63-4BF6-8B13-6CAF3FA95386}" vid="{F3150B78-4260-45FA-B5AF-E758FE7FFB9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ummit Template</Template>
  <TotalTime>16</TotalTime>
  <Words>68</Words>
  <Application>Microsoft Office PowerPoint</Application>
  <PresentationFormat>Widescreen</PresentationFormat>
  <Paragraphs>18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Arial Nova</vt:lpstr>
      <vt:lpstr>Calibri</vt:lpstr>
      <vt:lpstr>Summit Template</vt:lpstr>
      <vt:lpstr>think-cell Slide</vt:lpstr>
      <vt:lpstr>PowerPoint Presentation</vt:lpstr>
      <vt:lpstr>Starting recommendation</vt:lpstr>
      <vt:lpstr>Future team structure</vt:lpstr>
      <vt:lpstr>Next Steps, Considerations (resources to conduct technical interviews)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J Grant</dc:creator>
  <cp:lastModifiedBy>PJ Grant</cp:lastModifiedBy>
  <cp:revision>1</cp:revision>
  <dcterms:created xsi:type="dcterms:W3CDTF">2024-11-29T17:37:10Z</dcterms:created>
  <dcterms:modified xsi:type="dcterms:W3CDTF">2024-11-29T17:5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efa4170-0d19-0005-0004-bc88714345d2_Enabled">
    <vt:lpwstr>true</vt:lpwstr>
  </property>
  <property fmtid="{D5CDD505-2E9C-101B-9397-08002B2CF9AE}" pid="3" name="MSIP_Label_defa4170-0d19-0005-0004-bc88714345d2_SetDate">
    <vt:lpwstr>2024-11-29T17:37:19Z</vt:lpwstr>
  </property>
  <property fmtid="{D5CDD505-2E9C-101B-9397-08002B2CF9AE}" pid="4" name="MSIP_Label_defa4170-0d19-0005-0004-bc88714345d2_Method">
    <vt:lpwstr>Standard</vt:lpwstr>
  </property>
  <property fmtid="{D5CDD505-2E9C-101B-9397-08002B2CF9AE}" pid="5" name="MSIP_Label_defa4170-0d19-0005-0004-bc88714345d2_Name">
    <vt:lpwstr>defa4170-0d19-0005-0004-bc88714345d2</vt:lpwstr>
  </property>
  <property fmtid="{D5CDD505-2E9C-101B-9397-08002B2CF9AE}" pid="6" name="MSIP_Label_defa4170-0d19-0005-0004-bc88714345d2_SiteId">
    <vt:lpwstr>da123193-cb2c-4874-9e5e-26a2f0c33d57</vt:lpwstr>
  </property>
  <property fmtid="{D5CDD505-2E9C-101B-9397-08002B2CF9AE}" pid="7" name="MSIP_Label_defa4170-0d19-0005-0004-bc88714345d2_ActionId">
    <vt:lpwstr>9393704b-a728-4e8f-912d-a08750c0bc48</vt:lpwstr>
  </property>
  <property fmtid="{D5CDD505-2E9C-101B-9397-08002B2CF9AE}" pid="8" name="MSIP_Label_defa4170-0d19-0005-0004-bc88714345d2_ContentBits">
    <vt:lpwstr>0</vt:lpwstr>
  </property>
</Properties>
</file>